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9" r:id="rId1"/>
    <p:sldMasterId id="2147483728" r:id="rId2"/>
  </p:sldMasterIdLst>
  <p:notesMasterIdLst>
    <p:notesMasterId r:id="rId5"/>
  </p:notesMasterIdLst>
  <p:sldIdLst>
    <p:sldId id="370" r:id="rId3"/>
    <p:sldId id="371" r:id="rId4"/>
  </p:sldIdLst>
  <p:sldSz cx="12192000" cy="6858000"/>
  <p:notesSz cx="6797675" cy="9926638"/>
  <p:custDataLst>
    <p:tags r:id="rId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0A239"/>
    <a:srgbClr val="B25147"/>
    <a:srgbClr val="5DA892"/>
    <a:srgbClr val="44727E"/>
    <a:srgbClr val="A8BD75"/>
    <a:srgbClr val="5DA792"/>
    <a:srgbClr val="E4A450"/>
    <a:srgbClr val="445469"/>
    <a:srgbClr val="35AB91"/>
    <a:srgbClr val="C0C6D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63" autoAdjust="0"/>
    <p:restoredTop sz="93725" autoAdjust="0"/>
  </p:normalViewPr>
  <p:slideViewPr>
    <p:cSldViewPr>
      <p:cViewPr varScale="1">
        <p:scale>
          <a:sx n="109" d="100"/>
          <a:sy n="109" d="100"/>
        </p:scale>
        <p:origin x="200" y="184"/>
      </p:cViewPr>
      <p:guideLst>
        <p:guide orient="horz" pos="3884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55ECEB-5993-419A-A88E-DE0AA28C9EB0}" type="datetimeFigureOut">
              <a:rPr lang="de-DE" smtClean="0"/>
              <a:t>28.01.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826AFD-8D35-440C-98D2-3CEB164CDE1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53220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702C00E-24D6-6D46-91EF-22D77F5552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22171D0-D3E6-D24C-A073-B0DE6E599BC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78AB277-361A-D44F-81F8-075BA065A7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8.01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9A4E840-6A0C-6F4E-B5D9-FECEDF2543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6DA68EB-357D-5649-9BE4-E4F3C994A0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43616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64C89FC-94AA-C74D-9175-559AD0FAF6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1A1CEB8E-3FEF-FD4C-AEEC-A8A4A76CD2C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CB39C45-778F-4241-8230-17A79F1B15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8.01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65B23BD-D4E4-2442-9152-AD4549E717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67D0266-6465-1F4C-86AB-151D2D0F20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55113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502B8040-A28B-B347-BD8C-5EA0D6B27A3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C2DC78F5-DB66-E64C-96FD-851181D1139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23DDCC4-E6B7-DE4E-8F64-5459E5E996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8.01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1804C0D-9A01-D94A-8D4B-3783AC3248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9AB533-E8AB-784D-9B50-591B17607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59507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75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82359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866DBD5-BBEC-437B-B37F-6BF2755FDA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3590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9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0497CA38-8086-4A83-A292-86607C7F0C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48"/>
            <a:ext cx="12186138" cy="4608512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F2911CE-ED18-40C6-9BEB-5257E2C24DC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88288" y="5805264"/>
            <a:ext cx="3121341" cy="619621"/>
          </a:xfrm>
          <a:prstGeom prst="rect">
            <a:avLst/>
          </a:prstGeom>
        </p:spPr>
      </p:pic>
      <p:sp>
        <p:nvSpPr>
          <p:cNvPr id="7" name="Textplatzhalter 20">
            <a:extLst>
              <a:ext uri="{FF2B5EF4-FFF2-40B4-BE49-F238E27FC236}">
                <a16:creationId xmlns:a16="http://schemas.microsoft.com/office/drawing/2014/main" id="{42609E44-ECAF-4B1E-96D4-0E9E93E98B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368" y="5473558"/>
            <a:ext cx="4148635" cy="457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rgbClr val="0034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25211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679723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42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01300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106223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215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06428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und Inhalt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234876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005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92467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84BC617-70E0-4BF3-BDAC-3D0238FBCF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0152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93" name="think-cell Folie" r:id="rId5" imgW="338" imgH="338" progId="TCLayout.ActiveDocument.1">
                  <p:embed/>
                </p:oleObj>
              </mc:Choice>
              <mc:Fallback>
                <p:oleObj name="think-cell Folie" r:id="rId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194D8A73-A75D-4D8E-80E9-C1993117B43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03142F2-9013-4767-BCE2-03B227EB1A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6" name="Textplatzhalter 10">
            <a:extLst>
              <a:ext uri="{FF2B5EF4-FFF2-40B4-BE49-F238E27FC236}">
                <a16:creationId xmlns:a16="http://schemas.microsoft.com/office/drawing/2014/main" id="{6CCA563E-429C-4434-8BD2-1A32B879B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DFB0C07B-77C7-4A4E-889D-26DE571079D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5951" y="1484784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7" name="Bildplatzhalter 12">
            <a:extLst>
              <a:ext uri="{FF2B5EF4-FFF2-40B4-BE49-F238E27FC236}">
                <a16:creationId xmlns:a16="http://schemas.microsoft.com/office/drawing/2014/main" id="{C6E87118-92D8-4571-885E-AFD178D1509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848396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8" name="Bildplatzhalter 12">
            <a:extLst>
              <a:ext uri="{FF2B5EF4-FFF2-40B4-BE49-F238E27FC236}">
                <a16:creationId xmlns:a16="http://schemas.microsoft.com/office/drawing/2014/main" id="{2852C9DA-CFE0-41A5-B9AE-16C1AD6B11F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080841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9" name="Bildplatzhalter 12">
            <a:extLst>
              <a:ext uri="{FF2B5EF4-FFF2-40B4-BE49-F238E27FC236}">
                <a16:creationId xmlns:a16="http://schemas.microsoft.com/office/drawing/2014/main" id="{CA057589-E11B-4941-9B64-CCED2B0932A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13286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0" name="Bildplatzhalter 12">
            <a:extLst>
              <a:ext uri="{FF2B5EF4-FFF2-40B4-BE49-F238E27FC236}">
                <a16:creationId xmlns:a16="http://schemas.microsoft.com/office/drawing/2014/main" id="{B442A6B6-ED56-4B7B-A7F8-467E75BD152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545730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749866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5D02BA-6C32-534C-AA72-53103202F9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34A00A5-DDDA-6441-8F40-144BDF1512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73A3220-B885-2D48-82DF-0A2D81C420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8.01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7D7927E-FA01-9048-B154-A85419A8F0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D45F6B-7CA6-E746-B7C8-921233F79D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3721594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828219-3BA2-C147-A20C-746144E66A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874AF0B-C7CA-3746-95FC-410F58D190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CC0D4B4-FE28-944B-858C-FD49F67121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8.01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7FFD408-AE82-914A-837A-1B19887A71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0D1379D-9520-0648-A50E-8DE0664DF1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995807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8BBC011-5580-1147-B2CA-74CE8E5EB7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7B97274-70A9-A941-BA73-BD31828411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C86CF9-2B71-7D4F-BD9D-A3B895A005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8.01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450FBF6-7101-3E4C-925D-D61CDE36E0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19A8A00-571A-A743-9A57-518E3C8514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3230425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226ADF-8107-FA4E-A04F-A371AA3553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EE09D12-809F-9046-9025-9F712295F6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1F36CCE-B513-0441-AB99-899DEA3FC8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8.01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B55959E-3E36-794F-B6B8-043D3BD02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FD48199-2686-4D44-9793-13AD903478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31440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97E4E2-D73F-BF4F-94BA-A274D7C57F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881A30E-A539-5B40-8C2D-F4D94269143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593E6E1-7F56-ED46-9831-90EAD87F72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762F161-A661-4C4C-87E0-F8BDD13C3D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8.01.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3D39A93-9A90-E047-BD0A-2885BCF82E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46D8EED-5393-1048-B9C7-D02CDE77D0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20801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3C1214-A127-B64D-B398-AF0433F6E7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55B6C7D-13C7-3E4E-8815-E5F64280F9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2FA0D2F-3EE4-7B42-8689-711932406D2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15955B6-DF52-D64C-AA20-CFF267CF2FF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86D10B7-A0DB-C24C-A5E4-326ED791DA9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28D701B-8A71-704E-8D6B-A26AF91071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8.01.20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1D282E9-102A-A149-8F4A-8B85F0F54D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3015557-1C2C-6A4D-93AB-691F0CFB83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994512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5A5F1DE-5F77-2B47-9B9A-B25FDFE1B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ED1817C-EB1E-2946-A4E2-C9D3A276AE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8.01.20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A516699-E9D6-1D4C-B739-CCF26C011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70B319-5919-1148-8CF9-685496A9A6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58172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1AF1396-8167-FF4D-A614-BD73E9C386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8.01.20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D220FE5-8D8B-2744-99B4-22B36FEB4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ECAAA4D-1463-294B-8D29-EEA32D4BB7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318317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AFA4F5-3F94-FE4B-BEBE-28A7B5D107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3463FCB-13E7-DC42-A1D0-7E404CBB00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5A9E663-4EB0-4E41-AA04-E529CBC404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4AF7B11-3489-BC49-8A96-41399E492C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8.01.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FB87408-15E5-884B-89C9-1BA315FF89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83DE418-E4C4-6D46-B385-D19F3E287E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116788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0C09D0-A7E5-CA48-941F-B8D62FF588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B380C36-D55B-7E4C-95DE-0659AC0C6AE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6D542D0-35CD-FE4B-829C-BF9554F6B0F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E9436EA-F7DB-5D4F-8017-CBD07616A9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8.01.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72B93B7-2746-4E4E-A34F-10A56E4111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45A7424-D540-7243-91D2-CC93F465E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593696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0EC841-5C71-6246-9475-C84B925D67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D721994E-B1C1-7E48-AFC1-B18D320E252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DA82F3B-6F62-0F49-9EBB-7E7DD9E8B7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8.01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DC885B4-3006-D14F-A4A3-388A74248E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94C688C-AF20-5A4E-9633-3E59CA59B0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522998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78639CA0-1FAA-864F-ABC7-19408632EB2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A0670078-E223-9E41-802E-348704341D0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FC92E19-3D1C-4F45-9DDE-0500516102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8.01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29C9244-86C3-954B-BEE9-77581BB50E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8E9589-9FF3-944A-AC4F-8DB41DFA87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56386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51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261284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7C9870-81FE-DE4E-A3B5-CBD292301C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73C82E2-4F2B-E74E-9CC8-6767E82526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1F530AF-D2A4-E54C-8C79-F8BEC82B52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8.01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A1C0B71-BFF7-BA45-B3C1-0B6530B71F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421A43F-3474-E546-8997-A355E21321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5719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26DB56-37BF-6945-AEE2-04961117B4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42C437E-2420-CD48-A664-6A4400C91DB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7673C10-9805-9B40-84D0-7505C39FCB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18467E0-8B3D-EB4A-821A-D85A7241A8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8.01.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6B540F2-1137-3D48-90DD-A71A382F5A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3E14684-3F65-4C4C-8C5A-4274923345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93143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253B6B-DEEE-2144-8A86-CF2836F77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124EDBC-3372-1B48-8C80-E589AE6E6D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20C1C6C-18D1-7B4B-B65F-3B69CB34B3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F686EF4-4279-3E48-AC6A-A6889105398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6F42713D-FBCC-CA44-8C8E-F6D9D49D1F7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6F5B1B5-57AB-CC46-A313-736F736A96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8.01.20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B3AAB8A-B3B6-5340-A36D-E0B41DB0FD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97DA854-9B5C-EE45-B8FB-0EE31DC452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37272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6BBB6F-C347-594B-A535-5CD8E312EA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C4FC02E-8047-9E4B-81DC-46FD067BCF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8.01.20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EE987C-A019-1C4A-9EC5-E42E3F41F6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2FE7362-7526-EE42-B0E6-7B3BB81043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19046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F5110BD-0CC8-484F-86BB-9D31A26E7C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8.01.20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15C5D08-132E-3547-8878-841BCA31F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C99CBDE-A5F1-CC4B-8427-7EC7A2E67A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90850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213B29-61B9-874A-B03B-62F7888CA2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8557F03-DFCA-6740-818A-78DF151039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FF85103-D364-D54C-B479-E718EB809C2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8C67347-1D3C-0844-BA02-F3B95E6D39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8.01.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807407F-D77D-F14F-BB16-88DA28B440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007182A-9212-1A42-BF8E-35C3A6B0CB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3555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415F77F-C389-4E49-B8FB-3245F3659F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E0ADA8E-3A4A-DC47-8232-160C8FE11B5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8308C8C-DF2A-5442-A612-31143095252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825F1E3-C4CA-4E41-A5F3-638296F158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8.01.20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5A665C3-9A4C-A444-B9B3-2D31C9DBF3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45EB821-DDA5-C548-8D85-69BACA4216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13799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theme" Target="../theme/theme2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oleObject" Target="../embeddings/oleObject8.bin"/><Relationship Id="rId2" Type="http://schemas.openxmlformats.org/officeDocument/2006/relationships/slideLayout" Target="../slideLayouts/slideLayout19.xml"/><Relationship Id="rId16" Type="http://schemas.openxmlformats.org/officeDocument/2006/relationships/tags" Target="../tags/tag16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tags" Target="../tags/tag15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vmlDrawing" Target="../drawings/vmlDrawing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42D7FC3-4436-4347-9DAC-9B57E0338C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5305528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49" name="think-cell Folie" r:id="rId22" imgW="360" imgH="360" progId="TCLayout.ActiveDocument.1">
                  <p:embed/>
                </p:oleObj>
              </mc:Choice>
              <mc:Fallback>
                <p:oleObj name="think-cell Folie" r:id="rId22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2C644CD0-AFD2-4863-B299-8CA9BAB8A5B0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B762BD9-24D1-6442-BB0E-F211670959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D41D023-1571-D549-9DA0-0E8A800229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5D1B04-59E0-0A4C-9081-0B01EAAAE2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A4B536-F7AF-944A-9ADE-2033D9E83C3B}" type="datetimeFigureOut">
              <a:rPr lang="de-DE" smtClean="0"/>
              <a:t>28.01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7B697C8-CD4A-4442-9F8C-E53268027C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5367591-8258-D445-865F-1D7FE568E4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1676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686" r:id="rId13"/>
    <p:sldLayoutId id="2147483683" r:id="rId14"/>
    <p:sldLayoutId id="2147483688" r:id="rId15"/>
    <p:sldLayoutId id="2147483687" r:id="rId16"/>
    <p:sldLayoutId id="2147483685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B812DE3-54D6-4E45-9314-53AB9E036A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27424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173" name="think-cell Folie" r:id="rId17" imgW="360" imgH="360" progId="TCLayout.ActiveDocument.1">
                  <p:embed/>
                </p:oleObj>
              </mc:Choice>
              <mc:Fallback>
                <p:oleObj name="think-cell Folie" r:id="rId17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46EA1B23-5D56-48B6-A6CA-5CA1E9F2BE2F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176703B-D061-884A-88F6-3248B07112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14CE598-5E8F-B741-9F08-DC9379B98C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5C52A2A-742B-CF44-9700-99D00DFF6B6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A4B536-F7AF-944A-9ADE-2033D9E83C3B}" type="datetimeFigureOut">
              <a:rPr lang="de-DE" smtClean="0"/>
              <a:t>28.01.20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B2EC5FF-4E16-FE4C-B1A2-25C7F07197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7EB20D1-13FF-FC47-BEDC-B72501E2A4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99237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svg"/><Relationship Id="rId18" Type="http://schemas.openxmlformats.org/officeDocument/2006/relationships/image" Target="../media/image17.png"/><Relationship Id="rId3" Type="http://schemas.openxmlformats.org/officeDocument/2006/relationships/tags" Target="../tags/tag20.xml"/><Relationship Id="rId21" Type="http://schemas.openxmlformats.org/officeDocument/2006/relationships/image" Target="../media/image20.svg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17" Type="http://schemas.openxmlformats.org/officeDocument/2006/relationships/image" Target="../media/image16.svg"/><Relationship Id="rId25" Type="http://schemas.openxmlformats.org/officeDocument/2006/relationships/image" Target="../media/image24.svg"/><Relationship Id="rId2" Type="http://schemas.openxmlformats.org/officeDocument/2006/relationships/tags" Target="../tags/tag19.xml"/><Relationship Id="rId16" Type="http://schemas.openxmlformats.org/officeDocument/2006/relationships/image" Target="../media/image15.png"/><Relationship Id="rId20" Type="http://schemas.openxmlformats.org/officeDocument/2006/relationships/image" Target="../media/image19.png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11" Type="http://schemas.openxmlformats.org/officeDocument/2006/relationships/image" Target="../media/image10.svg"/><Relationship Id="rId24" Type="http://schemas.openxmlformats.org/officeDocument/2006/relationships/image" Target="../media/image23.png"/><Relationship Id="rId5" Type="http://schemas.openxmlformats.org/officeDocument/2006/relationships/oleObject" Target="../embeddings/oleObject10.bin"/><Relationship Id="rId15" Type="http://schemas.openxmlformats.org/officeDocument/2006/relationships/image" Target="../media/image14.svg"/><Relationship Id="rId23" Type="http://schemas.openxmlformats.org/officeDocument/2006/relationships/image" Target="../media/image22.svg"/><Relationship Id="rId10" Type="http://schemas.openxmlformats.org/officeDocument/2006/relationships/image" Target="../media/image9.png"/><Relationship Id="rId19" Type="http://schemas.openxmlformats.org/officeDocument/2006/relationships/image" Target="../media/image18.svg"/><Relationship Id="rId4" Type="http://schemas.openxmlformats.org/officeDocument/2006/relationships/slideLayout" Target="../slideLayouts/slideLayout29.xml"/><Relationship Id="rId9" Type="http://schemas.openxmlformats.org/officeDocument/2006/relationships/image" Target="../media/image8.svg"/><Relationship Id="rId14" Type="http://schemas.openxmlformats.org/officeDocument/2006/relationships/image" Target="../media/image13.png"/><Relationship Id="rId22" Type="http://schemas.openxmlformats.org/officeDocument/2006/relationships/image" Target="../media/image21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svg"/><Relationship Id="rId18" Type="http://schemas.openxmlformats.org/officeDocument/2006/relationships/image" Target="../media/image17.png"/><Relationship Id="rId3" Type="http://schemas.openxmlformats.org/officeDocument/2006/relationships/tags" Target="../tags/tag22.xml"/><Relationship Id="rId21" Type="http://schemas.openxmlformats.org/officeDocument/2006/relationships/image" Target="../media/image20.svg"/><Relationship Id="rId7" Type="http://schemas.openxmlformats.org/officeDocument/2006/relationships/image" Target="../media/image6.png"/><Relationship Id="rId12" Type="http://schemas.openxmlformats.org/officeDocument/2006/relationships/image" Target="../media/image11.png"/><Relationship Id="rId17" Type="http://schemas.openxmlformats.org/officeDocument/2006/relationships/image" Target="../media/image16.svg"/><Relationship Id="rId25" Type="http://schemas.openxmlformats.org/officeDocument/2006/relationships/image" Target="../media/image22.svg"/><Relationship Id="rId2" Type="http://schemas.openxmlformats.org/officeDocument/2006/relationships/tags" Target="../tags/tag21.xml"/><Relationship Id="rId16" Type="http://schemas.openxmlformats.org/officeDocument/2006/relationships/image" Target="../media/image15.png"/><Relationship Id="rId20" Type="http://schemas.openxmlformats.org/officeDocument/2006/relationships/image" Target="../media/image19.png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emf"/><Relationship Id="rId11" Type="http://schemas.openxmlformats.org/officeDocument/2006/relationships/image" Target="../media/image10.svg"/><Relationship Id="rId24" Type="http://schemas.openxmlformats.org/officeDocument/2006/relationships/image" Target="../media/image21.png"/><Relationship Id="rId5" Type="http://schemas.openxmlformats.org/officeDocument/2006/relationships/oleObject" Target="../embeddings/oleObject10.bin"/><Relationship Id="rId15" Type="http://schemas.openxmlformats.org/officeDocument/2006/relationships/image" Target="../media/image14.svg"/><Relationship Id="rId23" Type="http://schemas.openxmlformats.org/officeDocument/2006/relationships/image" Target="../media/image24.svg"/><Relationship Id="rId10" Type="http://schemas.openxmlformats.org/officeDocument/2006/relationships/image" Target="../media/image9.png"/><Relationship Id="rId19" Type="http://schemas.openxmlformats.org/officeDocument/2006/relationships/image" Target="../media/image18.svg"/><Relationship Id="rId4" Type="http://schemas.openxmlformats.org/officeDocument/2006/relationships/slideLayout" Target="../slideLayouts/slideLayout29.xml"/><Relationship Id="rId9" Type="http://schemas.openxmlformats.org/officeDocument/2006/relationships/image" Target="../media/image8.svg"/><Relationship Id="rId14" Type="http://schemas.openxmlformats.org/officeDocument/2006/relationships/image" Target="../media/image13.png"/><Relationship Id="rId22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7818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86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60" y="293434"/>
            <a:ext cx="8956750" cy="471270"/>
          </a:xfrm>
        </p:spPr>
        <p:txBody>
          <a:bodyPr/>
          <a:lstStyle/>
          <a:p>
            <a:r>
              <a:rPr lang="de-DE" b="1" dirty="0">
                <a:solidFill>
                  <a:srgbClr val="44727E"/>
                </a:solidFill>
              </a:rPr>
              <a:t>Leadership – </a:t>
            </a:r>
            <a:r>
              <a:rPr lang="de-DE" b="1" i="1" dirty="0">
                <a:solidFill>
                  <a:schemeClr val="accent6"/>
                </a:solidFill>
              </a:rPr>
              <a:t>Team Performance </a:t>
            </a:r>
            <a:r>
              <a:rPr lang="de-DE" b="1" i="1" dirty="0" err="1">
                <a:solidFill>
                  <a:schemeClr val="accent6"/>
                </a:solidFill>
              </a:rPr>
              <a:t>review</a:t>
            </a:r>
            <a:endParaRPr lang="de-DE" b="1" i="1" dirty="0">
              <a:solidFill>
                <a:schemeClr val="accent6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10002157" y="6468035"/>
            <a:ext cx="21865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 err="1">
                <a:solidFill>
                  <a:srgbClr val="44727E"/>
                </a:solidFill>
              </a:rPr>
              <a:t>www.strategypunk.com</a:t>
            </a:r>
            <a:endParaRPr lang="de-DE" sz="1400" b="1" dirty="0">
              <a:solidFill>
                <a:srgbClr val="44727E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9CC78CC3-9160-7D49-B837-9718DB95705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331646" y="1741693"/>
            <a:ext cx="720000" cy="72000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2E7CE937-4172-1647-B1D4-477DACA770D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331646" y="3139098"/>
            <a:ext cx="720000" cy="72000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4A54CA1B-5317-A742-81EC-B0CFDEE74B5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331646" y="4536504"/>
            <a:ext cx="720000" cy="720000"/>
          </a:xfrm>
          <a:prstGeom prst="rect">
            <a:avLst/>
          </a:prstGeom>
        </p:spPr>
      </p:pic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6983645E-F0CF-7942-BFA9-A41E27BC22B0}"/>
              </a:ext>
            </a:extLst>
          </p:cNvPr>
          <p:cNvCxnSpPr>
            <a:cxnSpLocks/>
          </p:cNvCxnSpPr>
          <p:nvPr/>
        </p:nvCxnSpPr>
        <p:spPr>
          <a:xfrm flipV="1">
            <a:off x="2495600" y="1224136"/>
            <a:ext cx="0" cy="4500000"/>
          </a:xfrm>
          <a:prstGeom prst="straightConnector1">
            <a:avLst/>
          </a:prstGeom>
          <a:ln w="571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5F2DC089-285B-1B4E-AB31-E84B9797597B}"/>
              </a:ext>
            </a:extLst>
          </p:cNvPr>
          <p:cNvCxnSpPr>
            <a:cxnSpLocks/>
          </p:cNvCxnSpPr>
          <p:nvPr/>
        </p:nvCxnSpPr>
        <p:spPr>
          <a:xfrm>
            <a:off x="2463788" y="5724632"/>
            <a:ext cx="7264424" cy="0"/>
          </a:xfrm>
          <a:prstGeom prst="straightConnector1">
            <a:avLst/>
          </a:prstGeom>
          <a:ln w="571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27">
            <a:extLst>
              <a:ext uri="{FF2B5EF4-FFF2-40B4-BE49-F238E27FC236}">
                <a16:creationId xmlns:a16="http://schemas.microsoft.com/office/drawing/2014/main" id="{4F46B390-86C6-9D49-8F08-212CEDF5BF12}"/>
              </a:ext>
            </a:extLst>
          </p:cNvPr>
          <p:cNvSpPr txBox="1"/>
          <p:nvPr/>
        </p:nvSpPr>
        <p:spPr>
          <a:xfrm>
            <a:off x="911424" y="907173"/>
            <a:ext cx="15953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Performance</a:t>
            </a:r>
          </a:p>
        </p:txBody>
      </p:sp>
      <p:sp>
        <p:nvSpPr>
          <p:cNvPr id="90" name="Textfeld 89">
            <a:extLst>
              <a:ext uri="{FF2B5EF4-FFF2-40B4-BE49-F238E27FC236}">
                <a16:creationId xmlns:a16="http://schemas.microsoft.com/office/drawing/2014/main" id="{4C175E85-36EC-B54B-A087-8FD8D03FC01F}"/>
              </a:ext>
            </a:extLst>
          </p:cNvPr>
          <p:cNvSpPr txBox="1"/>
          <p:nvPr/>
        </p:nvSpPr>
        <p:spPr>
          <a:xfrm>
            <a:off x="9603372" y="5835584"/>
            <a:ext cx="8131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Trend</a:t>
            </a:r>
          </a:p>
        </p:txBody>
      </p:sp>
      <p:pic>
        <p:nvPicPr>
          <p:cNvPr id="36" name="Grafik 35">
            <a:extLst>
              <a:ext uri="{FF2B5EF4-FFF2-40B4-BE49-F238E27FC236}">
                <a16:creationId xmlns:a16="http://schemas.microsoft.com/office/drawing/2014/main" id="{32C6B4C7-33DD-D843-9DE9-A708B1B258AE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 rot="8462665">
            <a:off x="3289959" y="5925715"/>
            <a:ext cx="720000" cy="720000"/>
          </a:xfrm>
          <a:prstGeom prst="rect">
            <a:avLst/>
          </a:prstGeom>
        </p:spPr>
      </p:pic>
      <p:pic>
        <p:nvPicPr>
          <p:cNvPr id="96" name="Grafik 95">
            <a:extLst>
              <a:ext uri="{FF2B5EF4-FFF2-40B4-BE49-F238E27FC236}">
                <a16:creationId xmlns:a16="http://schemas.microsoft.com/office/drawing/2014/main" id="{0C3B8A3A-3E2D-FD42-ADD7-463415526EB8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 rot="18917966">
            <a:off x="8184866" y="5922892"/>
            <a:ext cx="720000" cy="720000"/>
          </a:xfrm>
          <a:prstGeom prst="rect">
            <a:avLst/>
          </a:prstGeom>
        </p:spPr>
      </p:pic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9FFFBF15-17C6-834F-BFA2-859C1412A857}"/>
              </a:ext>
            </a:extLst>
          </p:cNvPr>
          <p:cNvGrpSpPr/>
          <p:nvPr/>
        </p:nvGrpSpPr>
        <p:grpSpPr>
          <a:xfrm>
            <a:off x="5711812" y="5922892"/>
            <a:ext cx="720000" cy="720000"/>
            <a:chOff x="5981699" y="3314699"/>
            <a:chExt cx="720000" cy="720000"/>
          </a:xfrm>
        </p:grpSpPr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C322FAC0-73CA-7043-86FF-5BB24E25DE87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5981699" y="3314699"/>
              <a:ext cx="720000" cy="720000"/>
            </a:xfrm>
            <a:prstGeom prst="rect">
              <a:avLst/>
            </a:prstGeom>
          </p:spPr>
        </p:pic>
        <p:pic>
          <p:nvPicPr>
            <p:cNvPr id="38" name="Grafik 37">
              <a:extLst>
                <a:ext uri="{FF2B5EF4-FFF2-40B4-BE49-F238E27FC236}">
                  <a16:creationId xmlns:a16="http://schemas.microsoft.com/office/drawing/2014/main" id="{81DD8FEB-9CEC-974F-A272-96FE0621510A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6143699" y="3476699"/>
              <a:ext cx="396000" cy="396000"/>
            </a:xfrm>
            <a:prstGeom prst="rect">
              <a:avLst/>
            </a:prstGeom>
          </p:spPr>
        </p:pic>
      </p:grpSp>
      <p:cxnSp>
        <p:nvCxnSpPr>
          <p:cNvPr id="43" name="Gerade Verbindung 42">
            <a:extLst>
              <a:ext uri="{FF2B5EF4-FFF2-40B4-BE49-F238E27FC236}">
                <a16:creationId xmlns:a16="http://schemas.microsoft.com/office/drawing/2014/main" id="{0A53F9A3-7835-A14D-B75A-E26E9FC7B9EB}"/>
              </a:ext>
            </a:extLst>
          </p:cNvPr>
          <p:cNvCxnSpPr/>
          <p:nvPr/>
        </p:nvCxnSpPr>
        <p:spPr>
          <a:xfrm>
            <a:off x="2786211" y="2708920"/>
            <a:ext cx="6480000" cy="0"/>
          </a:xfrm>
          <a:prstGeom prst="line">
            <a:avLst/>
          </a:prstGeom>
          <a:ln w="28575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106">
            <a:extLst>
              <a:ext uri="{FF2B5EF4-FFF2-40B4-BE49-F238E27FC236}">
                <a16:creationId xmlns:a16="http://schemas.microsoft.com/office/drawing/2014/main" id="{6811BFD3-BC21-4C46-850D-FFE098B653F0}"/>
              </a:ext>
            </a:extLst>
          </p:cNvPr>
          <p:cNvCxnSpPr/>
          <p:nvPr/>
        </p:nvCxnSpPr>
        <p:spPr>
          <a:xfrm>
            <a:off x="2786211" y="4221088"/>
            <a:ext cx="6480000" cy="0"/>
          </a:xfrm>
          <a:prstGeom prst="line">
            <a:avLst/>
          </a:prstGeom>
          <a:ln w="28575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107">
            <a:extLst>
              <a:ext uri="{FF2B5EF4-FFF2-40B4-BE49-F238E27FC236}">
                <a16:creationId xmlns:a16="http://schemas.microsoft.com/office/drawing/2014/main" id="{770E9494-A9A2-F64F-9E3A-B1CD84AEB7F5}"/>
              </a:ext>
            </a:extLst>
          </p:cNvPr>
          <p:cNvCxnSpPr>
            <a:cxnSpLocks/>
          </p:cNvCxnSpPr>
          <p:nvPr/>
        </p:nvCxnSpPr>
        <p:spPr>
          <a:xfrm>
            <a:off x="4860435" y="1583091"/>
            <a:ext cx="0" cy="3967711"/>
          </a:xfrm>
          <a:prstGeom prst="line">
            <a:avLst/>
          </a:prstGeom>
          <a:ln w="28575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 Verbindung 108">
            <a:extLst>
              <a:ext uri="{FF2B5EF4-FFF2-40B4-BE49-F238E27FC236}">
                <a16:creationId xmlns:a16="http://schemas.microsoft.com/office/drawing/2014/main" id="{D20A170F-262D-AC4E-AA30-3ECC2696DE82}"/>
              </a:ext>
            </a:extLst>
          </p:cNvPr>
          <p:cNvCxnSpPr>
            <a:cxnSpLocks/>
          </p:cNvCxnSpPr>
          <p:nvPr/>
        </p:nvCxnSpPr>
        <p:spPr>
          <a:xfrm>
            <a:off x="7248128" y="1583091"/>
            <a:ext cx="0" cy="3967711"/>
          </a:xfrm>
          <a:prstGeom prst="line">
            <a:avLst/>
          </a:prstGeom>
          <a:ln w="28575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2" name="Gruppieren 111">
            <a:extLst>
              <a:ext uri="{FF2B5EF4-FFF2-40B4-BE49-F238E27FC236}">
                <a16:creationId xmlns:a16="http://schemas.microsoft.com/office/drawing/2014/main" id="{3FFA818A-60FC-9241-B146-C76A9FAFB31D}"/>
              </a:ext>
            </a:extLst>
          </p:cNvPr>
          <p:cNvGrpSpPr/>
          <p:nvPr/>
        </p:nvGrpSpPr>
        <p:grpSpPr>
          <a:xfrm>
            <a:off x="10394038" y="2263148"/>
            <a:ext cx="628698" cy="703209"/>
            <a:chOff x="10615397" y="3429000"/>
            <a:chExt cx="628698" cy="703209"/>
          </a:xfrm>
        </p:grpSpPr>
        <p:pic>
          <p:nvPicPr>
            <p:cNvPr id="115" name="Grafik 114">
              <a:extLst>
                <a:ext uri="{FF2B5EF4-FFF2-40B4-BE49-F238E27FC236}">
                  <a16:creationId xmlns:a16="http://schemas.microsoft.com/office/drawing/2014/main" id="{3C39F2E0-2C6C-7141-B39B-5BCF3E33F8EB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10709304" y="3429000"/>
              <a:ext cx="396000" cy="396000"/>
            </a:xfrm>
            <a:prstGeom prst="rect">
              <a:avLst/>
            </a:prstGeom>
          </p:spPr>
        </p:pic>
        <p:sp>
          <p:nvSpPr>
            <p:cNvPr id="116" name="Textfeld 115">
              <a:extLst>
                <a:ext uri="{FF2B5EF4-FFF2-40B4-BE49-F238E27FC236}">
                  <a16:creationId xmlns:a16="http://schemas.microsoft.com/office/drawing/2014/main" id="{5E4E8A3D-2BCB-8141-83C6-301EF01DE981}"/>
                </a:ext>
              </a:extLst>
            </p:cNvPr>
            <p:cNvSpPr txBox="1"/>
            <p:nvPr/>
          </p:nvSpPr>
          <p:spPr>
            <a:xfrm>
              <a:off x="10615397" y="3855210"/>
              <a:ext cx="62869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dirty="0"/>
                <a:t>NAME</a:t>
              </a:r>
            </a:p>
          </p:txBody>
        </p:sp>
      </p:grpSp>
      <p:grpSp>
        <p:nvGrpSpPr>
          <p:cNvPr id="117" name="Gruppieren 116">
            <a:extLst>
              <a:ext uri="{FF2B5EF4-FFF2-40B4-BE49-F238E27FC236}">
                <a16:creationId xmlns:a16="http://schemas.microsoft.com/office/drawing/2014/main" id="{E5687F57-8DA2-AA42-BD09-2C00363C4DF8}"/>
              </a:ext>
            </a:extLst>
          </p:cNvPr>
          <p:cNvGrpSpPr/>
          <p:nvPr/>
        </p:nvGrpSpPr>
        <p:grpSpPr>
          <a:xfrm>
            <a:off x="10394038" y="3873343"/>
            <a:ext cx="628698" cy="732925"/>
            <a:chOff x="10740590" y="3042136"/>
            <a:chExt cx="628698" cy="732925"/>
          </a:xfrm>
        </p:grpSpPr>
        <p:pic>
          <p:nvPicPr>
            <p:cNvPr id="118" name="Grafik 117">
              <a:extLst>
                <a:ext uri="{FF2B5EF4-FFF2-40B4-BE49-F238E27FC236}">
                  <a16:creationId xmlns:a16="http://schemas.microsoft.com/office/drawing/2014/main" id="{5F1DC237-E4B9-F645-B3F4-690C06BCDCA7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p:blipFill>
          <p:spPr>
            <a:xfrm>
              <a:off x="10831291" y="3042136"/>
              <a:ext cx="396000" cy="396000"/>
            </a:xfrm>
            <a:prstGeom prst="rect">
              <a:avLst/>
            </a:prstGeom>
          </p:spPr>
        </p:pic>
        <p:sp>
          <p:nvSpPr>
            <p:cNvPr id="119" name="Textfeld 118">
              <a:extLst>
                <a:ext uri="{FF2B5EF4-FFF2-40B4-BE49-F238E27FC236}">
                  <a16:creationId xmlns:a16="http://schemas.microsoft.com/office/drawing/2014/main" id="{F49FB308-DF39-6F40-A06E-42EB5B5B64B2}"/>
                </a:ext>
              </a:extLst>
            </p:cNvPr>
            <p:cNvSpPr txBox="1"/>
            <p:nvPr/>
          </p:nvSpPr>
          <p:spPr>
            <a:xfrm>
              <a:off x="10740590" y="3498062"/>
              <a:ext cx="62869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dirty="0"/>
                <a:t>NAM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662052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375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60" y="293434"/>
            <a:ext cx="8956750" cy="471270"/>
          </a:xfrm>
        </p:spPr>
        <p:txBody>
          <a:bodyPr/>
          <a:lstStyle/>
          <a:p>
            <a:r>
              <a:rPr lang="de-DE" b="1" dirty="0">
                <a:solidFill>
                  <a:srgbClr val="44727E"/>
                </a:solidFill>
              </a:rPr>
              <a:t>Leadership – </a:t>
            </a:r>
            <a:r>
              <a:rPr lang="de-DE" b="1" i="1" dirty="0">
                <a:solidFill>
                  <a:schemeClr val="accent6"/>
                </a:solidFill>
              </a:rPr>
              <a:t>Team Performance </a:t>
            </a:r>
            <a:r>
              <a:rPr lang="de-DE" b="1" i="1" dirty="0" err="1">
                <a:solidFill>
                  <a:schemeClr val="accent6"/>
                </a:solidFill>
              </a:rPr>
              <a:t>review</a:t>
            </a:r>
            <a:endParaRPr lang="de-DE" b="1" i="1" dirty="0">
              <a:solidFill>
                <a:schemeClr val="accent6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10002157" y="6468035"/>
            <a:ext cx="21865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 err="1">
                <a:solidFill>
                  <a:srgbClr val="44727E"/>
                </a:solidFill>
              </a:rPr>
              <a:t>www.strategypunk.com</a:t>
            </a:r>
            <a:endParaRPr lang="de-DE" sz="1400" b="1" dirty="0">
              <a:solidFill>
                <a:srgbClr val="44727E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9CC78CC3-9160-7D49-B837-9718DB95705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331646" y="1741693"/>
            <a:ext cx="720000" cy="720000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2E7CE937-4172-1647-B1D4-477DACA770D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331646" y="3139098"/>
            <a:ext cx="720000" cy="72000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4A54CA1B-5317-A742-81EC-B0CFDEE74B5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331646" y="4536504"/>
            <a:ext cx="720000" cy="720000"/>
          </a:xfrm>
          <a:prstGeom prst="rect">
            <a:avLst/>
          </a:prstGeom>
        </p:spPr>
      </p:pic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6983645E-F0CF-7942-BFA9-A41E27BC22B0}"/>
              </a:ext>
            </a:extLst>
          </p:cNvPr>
          <p:cNvCxnSpPr>
            <a:cxnSpLocks/>
          </p:cNvCxnSpPr>
          <p:nvPr/>
        </p:nvCxnSpPr>
        <p:spPr>
          <a:xfrm flipV="1">
            <a:off x="2503984" y="1224136"/>
            <a:ext cx="0" cy="4500000"/>
          </a:xfrm>
          <a:prstGeom prst="straightConnector1">
            <a:avLst/>
          </a:prstGeom>
          <a:ln w="571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5F2DC089-285B-1B4E-AB31-E84B9797597B}"/>
              </a:ext>
            </a:extLst>
          </p:cNvPr>
          <p:cNvCxnSpPr>
            <a:cxnSpLocks/>
          </p:cNvCxnSpPr>
          <p:nvPr/>
        </p:nvCxnSpPr>
        <p:spPr>
          <a:xfrm>
            <a:off x="2463788" y="5724632"/>
            <a:ext cx="7264424" cy="0"/>
          </a:xfrm>
          <a:prstGeom prst="straightConnector1">
            <a:avLst/>
          </a:prstGeom>
          <a:ln w="5715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feld 27">
            <a:extLst>
              <a:ext uri="{FF2B5EF4-FFF2-40B4-BE49-F238E27FC236}">
                <a16:creationId xmlns:a16="http://schemas.microsoft.com/office/drawing/2014/main" id="{4F46B390-86C6-9D49-8F08-212CEDF5BF12}"/>
              </a:ext>
            </a:extLst>
          </p:cNvPr>
          <p:cNvSpPr txBox="1"/>
          <p:nvPr/>
        </p:nvSpPr>
        <p:spPr>
          <a:xfrm>
            <a:off x="911424" y="907173"/>
            <a:ext cx="15953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Performance</a:t>
            </a:r>
          </a:p>
        </p:txBody>
      </p:sp>
      <p:sp>
        <p:nvSpPr>
          <p:cNvPr id="90" name="Textfeld 89">
            <a:extLst>
              <a:ext uri="{FF2B5EF4-FFF2-40B4-BE49-F238E27FC236}">
                <a16:creationId xmlns:a16="http://schemas.microsoft.com/office/drawing/2014/main" id="{4C175E85-36EC-B54B-A087-8FD8D03FC01F}"/>
              </a:ext>
            </a:extLst>
          </p:cNvPr>
          <p:cNvSpPr txBox="1"/>
          <p:nvPr/>
        </p:nvSpPr>
        <p:spPr>
          <a:xfrm>
            <a:off x="9603372" y="5835584"/>
            <a:ext cx="8131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Trend</a:t>
            </a:r>
          </a:p>
        </p:txBody>
      </p:sp>
      <p:pic>
        <p:nvPicPr>
          <p:cNvPr id="36" name="Grafik 35">
            <a:extLst>
              <a:ext uri="{FF2B5EF4-FFF2-40B4-BE49-F238E27FC236}">
                <a16:creationId xmlns:a16="http://schemas.microsoft.com/office/drawing/2014/main" id="{32C6B4C7-33DD-D843-9DE9-A708B1B258AE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 rot="8462665">
            <a:off x="3289959" y="5925715"/>
            <a:ext cx="720000" cy="720000"/>
          </a:xfrm>
          <a:prstGeom prst="rect">
            <a:avLst/>
          </a:prstGeom>
        </p:spPr>
      </p:pic>
      <p:pic>
        <p:nvPicPr>
          <p:cNvPr id="96" name="Grafik 95">
            <a:extLst>
              <a:ext uri="{FF2B5EF4-FFF2-40B4-BE49-F238E27FC236}">
                <a16:creationId xmlns:a16="http://schemas.microsoft.com/office/drawing/2014/main" id="{0C3B8A3A-3E2D-FD42-ADD7-463415526EB8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 rot="18917966">
            <a:off x="8184866" y="5922892"/>
            <a:ext cx="720000" cy="720000"/>
          </a:xfrm>
          <a:prstGeom prst="rect">
            <a:avLst/>
          </a:prstGeom>
        </p:spPr>
      </p:pic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9FFFBF15-17C6-834F-BFA2-859C1412A857}"/>
              </a:ext>
            </a:extLst>
          </p:cNvPr>
          <p:cNvGrpSpPr/>
          <p:nvPr/>
        </p:nvGrpSpPr>
        <p:grpSpPr>
          <a:xfrm>
            <a:off x="5711812" y="5922892"/>
            <a:ext cx="720000" cy="720000"/>
            <a:chOff x="5981699" y="3314699"/>
            <a:chExt cx="720000" cy="720000"/>
          </a:xfrm>
        </p:grpSpPr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C322FAC0-73CA-7043-86FF-5BB24E25DE87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5981699" y="3314699"/>
              <a:ext cx="720000" cy="720000"/>
            </a:xfrm>
            <a:prstGeom prst="rect">
              <a:avLst/>
            </a:prstGeom>
          </p:spPr>
        </p:pic>
        <p:pic>
          <p:nvPicPr>
            <p:cNvPr id="38" name="Grafik 37">
              <a:extLst>
                <a:ext uri="{FF2B5EF4-FFF2-40B4-BE49-F238E27FC236}">
                  <a16:creationId xmlns:a16="http://schemas.microsoft.com/office/drawing/2014/main" id="{81DD8FEB-9CEC-974F-A272-96FE0621510A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6143699" y="3476699"/>
              <a:ext cx="396000" cy="396000"/>
            </a:xfrm>
            <a:prstGeom prst="rect">
              <a:avLst/>
            </a:prstGeom>
          </p:spPr>
        </p:pic>
      </p:grpSp>
      <p:cxnSp>
        <p:nvCxnSpPr>
          <p:cNvPr id="43" name="Gerade Verbindung 42">
            <a:extLst>
              <a:ext uri="{FF2B5EF4-FFF2-40B4-BE49-F238E27FC236}">
                <a16:creationId xmlns:a16="http://schemas.microsoft.com/office/drawing/2014/main" id="{0A53F9A3-7835-A14D-B75A-E26E9FC7B9EB}"/>
              </a:ext>
            </a:extLst>
          </p:cNvPr>
          <p:cNvCxnSpPr/>
          <p:nvPr/>
        </p:nvCxnSpPr>
        <p:spPr>
          <a:xfrm>
            <a:off x="2786211" y="2708920"/>
            <a:ext cx="6480000" cy="0"/>
          </a:xfrm>
          <a:prstGeom prst="line">
            <a:avLst/>
          </a:prstGeom>
          <a:ln w="28575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106">
            <a:extLst>
              <a:ext uri="{FF2B5EF4-FFF2-40B4-BE49-F238E27FC236}">
                <a16:creationId xmlns:a16="http://schemas.microsoft.com/office/drawing/2014/main" id="{6811BFD3-BC21-4C46-850D-FFE098B653F0}"/>
              </a:ext>
            </a:extLst>
          </p:cNvPr>
          <p:cNvCxnSpPr/>
          <p:nvPr/>
        </p:nvCxnSpPr>
        <p:spPr>
          <a:xfrm>
            <a:off x="2786211" y="4221088"/>
            <a:ext cx="6480000" cy="0"/>
          </a:xfrm>
          <a:prstGeom prst="line">
            <a:avLst/>
          </a:prstGeom>
          <a:ln w="28575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107">
            <a:extLst>
              <a:ext uri="{FF2B5EF4-FFF2-40B4-BE49-F238E27FC236}">
                <a16:creationId xmlns:a16="http://schemas.microsoft.com/office/drawing/2014/main" id="{770E9494-A9A2-F64F-9E3A-B1CD84AEB7F5}"/>
              </a:ext>
            </a:extLst>
          </p:cNvPr>
          <p:cNvCxnSpPr>
            <a:cxnSpLocks/>
          </p:cNvCxnSpPr>
          <p:nvPr/>
        </p:nvCxnSpPr>
        <p:spPr>
          <a:xfrm>
            <a:off x="4860435" y="1583091"/>
            <a:ext cx="0" cy="3967711"/>
          </a:xfrm>
          <a:prstGeom prst="line">
            <a:avLst/>
          </a:prstGeom>
          <a:ln w="28575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Gerade Verbindung 108">
            <a:extLst>
              <a:ext uri="{FF2B5EF4-FFF2-40B4-BE49-F238E27FC236}">
                <a16:creationId xmlns:a16="http://schemas.microsoft.com/office/drawing/2014/main" id="{D20A170F-262D-AC4E-AA30-3ECC2696DE82}"/>
              </a:ext>
            </a:extLst>
          </p:cNvPr>
          <p:cNvCxnSpPr>
            <a:cxnSpLocks/>
          </p:cNvCxnSpPr>
          <p:nvPr/>
        </p:nvCxnSpPr>
        <p:spPr>
          <a:xfrm>
            <a:off x="7248128" y="1583091"/>
            <a:ext cx="0" cy="3967711"/>
          </a:xfrm>
          <a:prstGeom prst="line">
            <a:avLst/>
          </a:prstGeom>
          <a:ln w="28575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A41149E4-B009-A44D-A2BF-38662718D493}"/>
              </a:ext>
            </a:extLst>
          </p:cNvPr>
          <p:cNvGrpSpPr/>
          <p:nvPr/>
        </p:nvGrpSpPr>
        <p:grpSpPr>
          <a:xfrm>
            <a:off x="5730924" y="1762017"/>
            <a:ext cx="739305" cy="708999"/>
            <a:chOff x="10662858" y="3042136"/>
            <a:chExt cx="739305" cy="708999"/>
          </a:xfrm>
        </p:grpSpPr>
        <p:pic>
          <p:nvPicPr>
            <p:cNvPr id="4" name="Grafik 3">
              <a:extLst>
                <a:ext uri="{FF2B5EF4-FFF2-40B4-BE49-F238E27FC236}">
                  <a16:creationId xmlns:a16="http://schemas.microsoft.com/office/drawing/2014/main" id="{4D424DAF-FBCD-814B-986E-239F1F8C283D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10831291" y="3042136"/>
              <a:ext cx="396000" cy="396000"/>
            </a:xfrm>
            <a:prstGeom prst="rect">
              <a:avLst/>
            </a:prstGeom>
          </p:spPr>
        </p:pic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D311D19C-336A-7F44-B54D-F3FF94E790EA}"/>
                </a:ext>
              </a:extLst>
            </p:cNvPr>
            <p:cNvSpPr txBox="1"/>
            <p:nvPr/>
          </p:nvSpPr>
          <p:spPr>
            <a:xfrm>
              <a:off x="10662858" y="3474136"/>
              <a:ext cx="73930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dirty="0"/>
                <a:t>Thomas</a:t>
              </a:r>
            </a:p>
          </p:txBody>
        </p:sp>
      </p:grp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C18D3898-398B-0547-8665-C9886652E4C6}"/>
              </a:ext>
            </a:extLst>
          </p:cNvPr>
          <p:cNvGrpSpPr/>
          <p:nvPr/>
        </p:nvGrpSpPr>
        <p:grpSpPr>
          <a:xfrm>
            <a:off x="7934563" y="1767807"/>
            <a:ext cx="583814" cy="703209"/>
            <a:chOff x="10615397" y="3429000"/>
            <a:chExt cx="583814" cy="703209"/>
          </a:xfrm>
        </p:grpSpPr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51BF925D-71A9-FD43-917D-C9EB07082376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p:blipFill>
          <p:spPr>
            <a:xfrm>
              <a:off x="10709304" y="3429000"/>
              <a:ext cx="396000" cy="396000"/>
            </a:xfrm>
            <a:prstGeom prst="rect">
              <a:avLst/>
            </a:prstGeom>
          </p:spPr>
        </p:pic>
        <p:sp>
          <p:nvSpPr>
            <p:cNvPr id="32" name="Textfeld 31">
              <a:extLst>
                <a:ext uri="{FF2B5EF4-FFF2-40B4-BE49-F238E27FC236}">
                  <a16:creationId xmlns:a16="http://schemas.microsoft.com/office/drawing/2014/main" id="{64C9695A-C481-8F45-972A-FED7B63FF93F}"/>
                </a:ext>
              </a:extLst>
            </p:cNvPr>
            <p:cNvSpPr txBox="1"/>
            <p:nvPr/>
          </p:nvSpPr>
          <p:spPr>
            <a:xfrm>
              <a:off x="10615397" y="3855210"/>
              <a:ext cx="58381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dirty="0"/>
                <a:t>Claire</a:t>
              </a:r>
            </a:p>
          </p:txBody>
        </p:sp>
      </p:grp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2C68715A-DBFE-DD43-A115-C14599E21301}"/>
              </a:ext>
            </a:extLst>
          </p:cNvPr>
          <p:cNvGrpSpPr/>
          <p:nvPr/>
        </p:nvGrpSpPr>
        <p:grpSpPr>
          <a:xfrm>
            <a:off x="7934563" y="3133555"/>
            <a:ext cx="660758" cy="722148"/>
            <a:chOff x="10702132" y="3042136"/>
            <a:chExt cx="660758" cy="722148"/>
          </a:xfrm>
        </p:grpSpPr>
        <p:pic>
          <p:nvPicPr>
            <p:cNvPr id="34" name="Grafik 33">
              <a:extLst>
                <a:ext uri="{FF2B5EF4-FFF2-40B4-BE49-F238E27FC236}">
                  <a16:creationId xmlns:a16="http://schemas.microsoft.com/office/drawing/2014/main" id="{5138FF32-A635-9647-87C4-100BC9C348BD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10831291" y="3042136"/>
              <a:ext cx="396000" cy="396000"/>
            </a:xfrm>
            <a:prstGeom prst="rect">
              <a:avLst/>
            </a:prstGeom>
          </p:spPr>
        </p:pic>
        <p:sp>
          <p:nvSpPr>
            <p:cNvPr id="35" name="Textfeld 34">
              <a:extLst>
                <a:ext uri="{FF2B5EF4-FFF2-40B4-BE49-F238E27FC236}">
                  <a16:creationId xmlns:a16="http://schemas.microsoft.com/office/drawing/2014/main" id="{90A8094A-FFD6-7947-9FAE-5C50DE73EC51}"/>
                </a:ext>
              </a:extLst>
            </p:cNvPr>
            <p:cNvSpPr txBox="1"/>
            <p:nvPr/>
          </p:nvSpPr>
          <p:spPr>
            <a:xfrm>
              <a:off x="10702132" y="3487285"/>
              <a:ext cx="66075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dirty="0"/>
                <a:t>Dennis</a:t>
              </a:r>
            </a:p>
          </p:txBody>
        </p:sp>
      </p:grp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CED62B63-46E2-354B-BE14-3CD3EBC9F022}"/>
              </a:ext>
            </a:extLst>
          </p:cNvPr>
          <p:cNvGrpSpPr/>
          <p:nvPr/>
        </p:nvGrpSpPr>
        <p:grpSpPr>
          <a:xfrm>
            <a:off x="8019926" y="4570267"/>
            <a:ext cx="474810" cy="722148"/>
            <a:chOff x="10788710" y="3042136"/>
            <a:chExt cx="474810" cy="722148"/>
          </a:xfrm>
        </p:grpSpPr>
        <p:pic>
          <p:nvPicPr>
            <p:cNvPr id="39" name="Grafik 38">
              <a:extLst>
                <a:ext uri="{FF2B5EF4-FFF2-40B4-BE49-F238E27FC236}">
                  <a16:creationId xmlns:a16="http://schemas.microsoft.com/office/drawing/2014/main" id="{FC1237C4-B374-5649-8743-637906567EBD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10831291" y="3042136"/>
              <a:ext cx="396000" cy="396000"/>
            </a:xfrm>
            <a:prstGeom prst="rect">
              <a:avLst/>
            </a:prstGeom>
          </p:spPr>
        </p:pic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id="{1CE4AA69-FB4A-C447-A410-BF187B99F471}"/>
                </a:ext>
              </a:extLst>
            </p:cNvPr>
            <p:cNvSpPr txBox="1"/>
            <p:nvPr/>
          </p:nvSpPr>
          <p:spPr>
            <a:xfrm>
              <a:off x="10788710" y="3487285"/>
              <a:ext cx="474810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dirty="0"/>
                <a:t>Lutz</a:t>
              </a:r>
            </a:p>
          </p:txBody>
        </p:sp>
      </p:grpSp>
      <p:grpSp>
        <p:nvGrpSpPr>
          <p:cNvPr id="44" name="Gruppieren 43">
            <a:extLst>
              <a:ext uri="{FF2B5EF4-FFF2-40B4-BE49-F238E27FC236}">
                <a16:creationId xmlns:a16="http://schemas.microsoft.com/office/drawing/2014/main" id="{FD412F98-146A-A34D-95E1-AE85C1A2807A}"/>
              </a:ext>
            </a:extLst>
          </p:cNvPr>
          <p:cNvGrpSpPr/>
          <p:nvPr/>
        </p:nvGrpSpPr>
        <p:grpSpPr>
          <a:xfrm>
            <a:off x="6596470" y="2797359"/>
            <a:ext cx="583814" cy="703209"/>
            <a:chOff x="10615397" y="3429000"/>
            <a:chExt cx="583814" cy="703209"/>
          </a:xfrm>
        </p:grpSpPr>
        <p:pic>
          <p:nvPicPr>
            <p:cNvPr id="45" name="Grafik 44">
              <a:extLst>
                <a:ext uri="{FF2B5EF4-FFF2-40B4-BE49-F238E27FC236}">
                  <a16:creationId xmlns:a16="http://schemas.microsoft.com/office/drawing/2014/main" id="{3A714E79-A22D-B146-8D17-7E41D9A76E79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p:blipFill>
          <p:spPr>
            <a:xfrm>
              <a:off x="10709304" y="3429000"/>
              <a:ext cx="396000" cy="396000"/>
            </a:xfrm>
            <a:prstGeom prst="rect">
              <a:avLst/>
            </a:prstGeom>
          </p:spPr>
        </p:pic>
        <p:sp>
          <p:nvSpPr>
            <p:cNvPr id="46" name="Textfeld 45">
              <a:extLst>
                <a:ext uri="{FF2B5EF4-FFF2-40B4-BE49-F238E27FC236}">
                  <a16:creationId xmlns:a16="http://schemas.microsoft.com/office/drawing/2014/main" id="{4CDED9A5-E8CF-4A40-8C0F-21BC1E9B08CE}"/>
                </a:ext>
              </a:extLst>
            </p:cNvPr>
            <p:cNvSpPr txBox="1"/>
            <p:nvPr/>
          </p:nvSpPr>
          <p:spPr>
            <a:xfrm>
              <a:off x="10615397" y="3855210"/>
              <a:ext cx="58381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dirty="0"/>
                <a:t>Diane</a:t>
              </a:r>
            </a:p>
          </p:txBody>
        </p:sp>
      </p:grp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A467A788-45D7-534A-AC1D-281218460E10}"/>
              </a:ext>
            </a:extLst>
          </p:cNvPr>
          <p:cNvGrpSpPr/>
          <p:nvPr/>
        </p:nvGrpSpPr>
        <p:grpSpPr>
          <a:xfrm>
            <a:off x="3467017" y="3133555"/>
            <a:ext cx="577402" cy="732925"/>
            <a:chOff x="10740590" y="3042136"/>
            <a:chExt cx="577402" cy="732925"/>
          </a:xfrm>
        </p:grpSpPr>
        <p:pic>
          <p:nvPicPr>
            <p:cNvPr id="48" name="Grafik 47">
              <a:extLst>
                <a:ext uri="{FF2B5EF4-FFF2-40B4-BE49-F238E27FC236}">
                  <a16:creationId xmlns:a16="http://schemas.microsoft.com/office/drawing/2014/main" id="{67028D8A-6AC8-4D49-886B-33FA30139FB1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10831291" y="3042136"/>
              <a:ext cx="396000" cy="396000"/>
            </a:xfrm>
            <a:prstGeom prst="rect">
              <a:avLst/>
            </a:prstGeom>
          </p:spPr>
        </p:pic>
        <p:sp>
          <p:nvSpPr>
            <p:cNvPr id="49" name="Textfeld 48">
              <a:extLst>
                <a:ext uri="{FF2B5EF4-FFF2-40B4-BE49-F238E27FC236}">
                  <a16:creationId xmlns:a16="http://schemas.microsoft.com/office/drawing/2014/main" id="{16EC0618-C3F7-5344-80BE-E2550BCEBE28}"/>
                </a:ext>
              </a:extLst>
            </p:cNvPr>
            <p:cNvSpPr txBox="1"/>
            <p:nvPr/>
          </p:nvSpPr>
          <p:spPr>
            <a:xfrm>
              <a:off x="10740590" y="3498062"/>
              <a:ext cx="57740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dirty="0"/>
                <a:t>Frank</a:t>
              </a:r>
            </a:p>
          </p:txBody>
        </p:sp>
      </p:grpSp>
      <p:grpSp>
        <p:nvGrpSpPr>
          <p:cNvPr id="50" name="Gruppieren 49">
            <a:extLst>
              <a:ext uri="{FF2B5EF4-FFF2-40B4-BE49-F238E27FC236}">
                <a16:creationId xmlns:a16="http://schemas.microsoft.com/office/drawing/2014/main" id="{B880EB57-8DA2-D641-8F0E-FAF6CC6AFFB1}"/>
              </a:ext>
            </a:extLst>
          </p:cNvPr>
          <p:cNvGrpSpPr/>
          <p:nvPr/>
        </p:nvGrpSpPr>
        <p:grpSpPr>
          <a:xfrm>
            <a:off x="5247518" y="3345237"/>
            <a:ext cx="668773" cy="708329"/>
            <a:chOff x="10572917" y="3429000"/>
            <a:chExt cx="668773" cy="708329"/>
          </a:xfrm>
        </p:grpSpPr>
        <p:pic>
          <p:nvPicPr>
            <p:cNvPr id="51" name="Grafik 50">
              <a:extLst>
                <a:ext uri="{FF2B5EF4-FFF2-40B4-BE49-F238E27FC236}">
                  <a16:creationId xmlns:a16="http://schemas.microsoft.com/office/drawing/2014/main" id="{29FF427A-43F0-E046-B853-D037D441F6F7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p:blipFill>
          <p:spPr>
            <a:xfrm>
              <a:off x="10709304" y="3429000"/>
              <a:ext cx="396000" cy="396000"/>
            </a:xfrm>
            <a:prstGeom prst="rect">
              <a:avLst/>
            </a:prstGeom>
          </p:spPr>
        </p:pic>
        <p:sp>
          <p:nvSpPr>
            <p:cNvPr id="52" name="Textfeld 51">
              <a:extLst>
                <a:ext uri="{FF2B5EF4-FFF2-40B4-BE49-F238E27FC236}">
                  <a16:creationId xmlns:a16="http://schemas.microsoft.com/office/drawing/2014/main" id="{C54B5627-B654-F14D-9B8C-BFE5E50C5B21}"/>
                </a:ext>
              </a:extLst>
            </p:cNvPr>
            <p:cNvSpPr txBox="1"/>
            <p:nvPr/>
          </p:nvSpPr>
          <p:spPr>
            <a:xfrm>
              <a:off x="10572917" y="3860330"/>
              <a:ext cx="66877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dirty="0"/>
                <a:t>Caroli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996138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KJ9sViS4ib4gfVYYuwC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2nS24adSZXIg4tKDSYp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ddZmQipDWBUuJIzOBL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3</Words>
  <Application>Microsoft Macintosh PowerPoint</Application>
  <PresentationFormat>Breitbild</PresentationFormat>
  <Paragraphs>17</Paragraphs>
  <Slides>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7" baseType="lpstr">
      <vt:lpstr>Arial</vt:lpstr>
      <vt:lpstr>Calibri</vt:lpstr>
      <vt:lpstr>1_Office</vt:lpstr>
      <vt:lpstr>Office</vt:lpstr>
      <vt:lpstr>think-cell Folie</vt:lpstr>
      <vt:lpstr>Leadership – Team Performance review</vt:lpstr>
      <vt:lpstr>Leadership – Team Performance review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adership - Team Performance Review</dc:title>
  <dc:subject/>
  <dc:creator>StrategyPunk.com</dc:creator>
  <cp:keywords/>
  <dc:description/>
  <cp:lastModifiedBy>Christina  Schmidt</cp:lastModifiedBy>
  <cp:revision>36</cp:revision>
  <dcterms:created xsi:type="dcterms:W3CDTF">2019-03-05T19:37:05Z</dcterms:created>
  <dcterms:modified xsi:type="dcterms:W3CDTF">2020-01-28T20:46:09Z</dcterms:modified>
  <cp:category/>
</cp:coreProperties>
</file>